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2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9A97BE-E8BE-4193-9C14-E1DC406BB13C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F35E22-2CF5-49A8-BF90-E952ED564B2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261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7921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780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9258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43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74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8964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91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89551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2" name="Gruppieren 163">
            <a:extLst>
              <a:ext uri="{FF2B5EF4-FFF2-40B4-BE49-F238E27FC236}">
                <a16:creationId xmlns:a16="http://schemas.microsoft.com/office/drawing/2014/main" id="{F6F55129-CC50-9638-BAA7-3CA5DD5352DE}"/>
              </a:ext>
            </a:extLst>
          </p:cNvPr>
          <p:cNvGrpSpPr>
            <a:grpSpLocks/>
          </p:cNvGrpSpPr>
          <p:nvPr/>
        </p:nvGrpSpPr>
        <p:grpSpPr>
          <a:xfrm flipH="1">
            <a:off x="6878475" y="1911734"/>
            <a:ext cx="4942050" cy="746903"/>
            <a:chOff x="424164" y="1849506"/>
            <a:chExt cx="4926235" cy="746903"/>
          </a:xfrm>
        </p:grpSpPr>
        <p:cxnSp>
          <p:nvCxnSpPr>
            <p:cNvPr id="3" name="Gerade Verbindung 22">
              <a:extLst>
                <a:ext uri="{FF2B5EF4-FFF2-40B4-BE49-F238E27FC236}">
                  <a16:creationId xmlns:a16="http://schemas.microsoft.com/office/drawing/2014/main" id="{9BD65487-343F-DAAD-C8C9-E68CBB35CF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2199208"/>
              <a:ext cx="4924949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platzhalter 13">
              <a:extLst>
                <a:ext uri="{FF2B5EF4-FFF2-40B4-BE49-F238E27FC236}">
                  <a16:creationId xmlns:a16="http://schemas.microsoft.com/office/drawing/2014/main" id="{26CC8192-9CF2-AFB4-32D6-B58FB12AD72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4" y="1849506"/>
              <a:ext cx="3125507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</a:rPr>
                <a:t>{subtitle_1}</a:t>
              </a:r>
            </a:p>
          </p:txBody>
        </p:sp>
        <p:sp>
          <p:nvSpPr>
            <p:cNvPr id="6" name="Rechteck 166">
              <a:extLst>
                <a:ext uri="{FF2B5EF4-FFF2-40B4-BE49-F238E27FC236}">
                  <a16:creationId xmlns:a16="http://schemas.microsoft.com/office/drawing/2014/main" id="{4D2B2FB0-C87C-B0E5-D817-FE033D9910AF}"/>
                </a:ext>
              </a:extLst>
            </p:cNvPr>
            <p:cNvSpPr>
              <a:spLocks/>
            </p:cNvSpPr>
            <p:nvPr/>
          </p:nvSpPr>
          <p:spPr>
            <a:xfrm flipH="1">
              <a:off x="424164" y="2199208"/>
              <a:ext cx="3125507" cy="39720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subtitle_1_content}</a:t>
              </a:r>
            </a:p>
          </p:txBody>
        </p:sp>
      </p:grpSp>
      <p:grpSp>
        <p:nvGrpSpPr>
          <p:cNvPr id="7" name="Gruppieren 167">
            <a:extLst>
              <a:ext uri="{FF2B5EF4-FFF2-40B4-BE49-F238E27FC236}">
                <a16:creationId xmlns:a16="http://schemas.microsoft.com/office/drawing/2014/main" id="{E652FBB2-D25F-E562-F872-431D65980C06}"/>
              </a:ext>
            </a:extLst>
          </p:cNvPr>
          <p:cNvGrpSpPr>
            <a:grpSpLocks/>
          </p:cNvGrpSpPr>
          <p:nvPr/>
        </p:nvGrpSpPr>
        <p:grpSpPr>
          <a:xfrm flipH="1">
            <a:off x="6878475" y="3376334"/>
            <a:ext cx="4942050" cy="746903"/>
            <a:chOff x="424164" y="1849506"/>
            <a:chExt cx="4926235" cy="746903"/>
          </a:xfrm>
        </p:grpSpPr>
        <p:cxnSp>
          <p:nvCxnSpPr>
            <p:cNvPr id="9" name="Gerade Verbindung 22">
              <a:extLst>
                <a:ext uri="{FF2B5EF4-FFF2-40B4-BE49-F238E27FC236}">
                  <a16:creationId xmlns:a16="http://schemas.microsoft.com/office/drawing/2014/main" id="{F203BEAE-A2E9-541B-6258-141D3AE5CAA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2199208"/>
              <a:ext cx="4924949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platzhalter 13">
              <a:extLst>
                <a:ext uri="{FF2B5EF4-FFF2-40B4-BE49-F238E27FC236}">
                  <a16:creationId xmlns:a16="http://schemas.microsoft.com/office/drawing/2014/main" id="{42C154C4-3DAF-A755-463A-FC46152E94E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4" y="1849506"/>
              <a:ext cx="3125507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pPr lvl="0" algn="r">
                <a:defRPr/>
              </a:pPr>
              <a:r>
                <a:rPr lang="en-US" altLang="zh-CN" sz="1800" cap="none" dirty="0">
                  <a:solidFill>
                    <a:srgbClr val="1A7449"/>
                  </a:solidFill>
                </a:rPr>
                <a:t>{subtitle_2}</a:t>
              </a:r>
            </a:p>
          </p:txBody>
        </p:sp>
        <p:sp>
          <p:nvSpPr>
            <p:cNvPr id="12" name="Rechteck 170">
              <a:extLst>
                <a:ext uri="{FF2B5EF4-FFF2-40B4-BE49-F238E27FC236}">
                  <a16:creationId xmlns:a16="http://schemas.microsoft.com/office/drawing/2014/main" id="{9D08D131-3BA5-757A-9585-F44162018455}"/>
                </a:ext>
              </a:extLst>
            </p:cNvPr>
            <p:cNvSpPr>
              <a:spLocks/>
            </p:cNvSpPr>
            <p:nvPr/>
          </p:nvSpPr>
          <p:spPr>
            <a:xfrm flipH="1">
              <a:off x="424164" y="2199208"/>
              <a:ext cx="3125507" cy="39720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lvl="0" algn="r">
                <a:spcAft>
                  <a:spcPts val="600"/>
                </a:spcAft>
                <a:defRPr/>
              </a:pPr>
              <a:r>
                <a:rPr lang="en-US" altLang="zh-CN" sz="1400" dirty="0">
                  <a:solidFill>
                    <a:srgbClr val="575757"/>
                  </a:solidFill>
                </a:rPr>
                <a:t>{subtitle_2_content}</a:t>
              </a:r>
            </a:p>
          </p:txBody>
        </p:sp>
      </p:grpSp>
      <p:grpSp>
        <p:nvGrpSpPr>
          <p:cNvPr id="13" name="Gruppieren 171">
            <a:extLst>
              <a:ext uri="{FF2B5EF4-FFF2-40B4-BE49-F238E27FC236}">
                <a16:creationId xmlns:a16="http://schemas.microsoft.com/office/drawing/2014/main" id="{C0C689F6-339B-C437-E9E8-D63B81B041A1}"/>
              </a:ext>
            </a:extLst>
          </p:cNvPr>
          <p:cNvGrpSpPr>
            <a:grpSpLocks/>
          </p:cNvGrpSpPr>
          <p:nvPr/>
        </p:nvGrpSpPr>
        <p:grpSpPr>
          <a:xfrm flipH="1">
            <a:off x="6878475" y="4840933"/>
            <a:ext cx="4942050" cy="746903"/>
            <a:chOff x="424164" y="1849506"/>
            <a:chExt cx="4926235" cy="746903"/>
          </a:xfrm>
        </p:grpSpPr>
        <p:cxnSp>
          <p:nvCxnSpPr>
            <p:cNvPr id="14" name="Gerade Verbindung 22">
              <a:extLst>
                <a:ext uri="{FF2B5EF4-FFF2-40B4-BE49-F238E27FC236}">
                  <a16:creationId xmlns:a16="http://schemas.microsoft.com/office/drawing/2014/main" id="{5FB4D8E3-A9C1-E6B2-8857-B91BE67F148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2199208"/>
              <a:ext cx="4924949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platzhalter 13">
              <a:extLst>
                <a:ext uri="{FF2B5EF4-FFF2-40B4-BE49-F238E27FC236}">
                  <a16:creationId xmlns:a16="http://schemas.microsoft.com/office/drawing/2014/main" id="{1C150FF1-A9E1-23A0-FCCE-A32B35456E9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4" y="1849506"/>
              <a:ext cx="3125507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pPr lvl="0" algn="r">
                <a:defRPr/>
              </a:pPr>
              <a:r>
                <a:rPr lang="en-US" altLang="zh-CN" sz="1800" cap="none" dirty="0">
                  <a:solidFill>
                    <a:srgbClr val="1A7449"/>
                  </a:solidFill>
                </a:rPr>
                <a:t>{subtitle_3}</a:t>
              </a:r>
            </a:p>
          </p:txBody>
        </p:sp>
        <p:sp>
          <p:nvSpPr>
            <p:cNvPr id="16" name="Rechteck 174">
              <a:extLst>
                <a:ext uri="{FF2B5EF4-FFF2-40B4-BE49-F238E27FC236}">
                  <a16:creationId xmlns:a16="http://schemas.microsoft.com/office/drawing/2014/main" id="{D2BDF8E9-32B2-7823-7F94-FEFA8771A5FC}"/>
                </a:ext>
              </a:extLst>
            </p:cNvPr>
            <p:cNvSpPr>
              <a:spLocks/>
            </p:cNvSpPr>
            <p:nvPr/>
          </p:nvSpPr>
          <p:spPr>
            <a:xfrm flipH="1">
              <a:off x="424164" y="2199208"/>
              <a:ext cx="3125507" cy="39720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lvl="0" algn="r">
                <a:spcAft>
                  <a:spcPts val="600"/>
                </a:spcAft>
                <a:defRPr/>
              </a:pPr>
              <a:r>
                <a:rPr lang="en-US" altLang="zh-CN" sz="1400" dirty="0">
                  <a:solidFill>
                    <a:srgbClr val="575757"/>
                  </a:solidFill>
                </a:rPr>
                <a:t>{subtitle_3_content}</a:t>
              </a:r>
            </a:p>
          </p:txBody>
        </p:sp>
      </p:grpSp>
      <p:grpSp>
        <p:nvGrpSpPr>
          <p:cNvPr id="17" name="Gruppieren 154">
            <a:extLst>
              <a:ext uri="{FF2B5EF4-FFF2-40B4-BE49-F238E27FC236}">
                <a16:creationId xmlns:a16="http://schemas.microsoft.com/office/drawing/2014/main" id="{DE00BA23-E1F3-5C17-870B-58C616F9A2ED}"/>
              </a:ext>
            </a:extLst>
          </p:cNvPr>
          <p:cNvGrpSpPr>
            <a:grpSpLocks/>
          </p:cNvGrpSpPr>
          <p:nvPr/>
        </p:nvGrpSpPr>
        <p:grpSpPr>
          <a:xfrm>
            <a:off x="407989" y="1911734"/>
            <a:ext cx="4942050" cy="746903"/>
            <a:chOff x="424164" y="1849506"/>
            <a:chExt cx="4926235" cy="746903"/>
          </a:xfrm>
        </p:grpSpPr>
        <p:cxnSp>
          <p:nvCxnSpPr>
            <p:cNvPr id="18" name="Gerade Verbindung 22">
              <a:extLst>
                <a:ext uri="{FF2B5EF4-FFF2-40B4-BE49-F238E27FC236}">
                  <a16:creationId xmlns:a16="http://schemas.microsoft.com/office/drawing/2014/main" id="{CAD088E4-8D6E-50BF-F91C-BA5A7DB5A37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2199208"/>
              <a:ext cx="4924949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platzhalter 13">
              <a:extLst>
                <a:ext uri="{FF2B5EF4-FFF2-40B4-BE49-F238E27FC236}">
                  <a16:creationId xmlns:a16="http://schemas.microsoft.com/office/drawing/2014/main" id="{77BA6645-37AD-7C63-7383-EDE63F0B0ED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4" y="1849506"/>
              <a:ext cx="3125507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pPr lvl="0">
                <a:defRPr/>
              </a:pPr>
              <a:r>
                <a:rPr lang="en-US" altLang="zh-CN" sz="1800" cap="none" dirty="0">
                  <a:solidFill>
                    <a:srgbClr val="1A7449"/>
                  </a:solidFill>
                </a:rPr>
                <a:t>{subtitle_6}</a:t>
              </a:r>
            </a:p>
          </p:txBody>
        </p:sp>
        <p:sp>
          <p:nvSpPr>
            <p:cNvPr id="20" name="Rechteck 153">
              <a:extLst>
                <a:ext uri="{FF2B5EF4-FFF2-40B4-BE49-F238E27FC236}">
                  <a16:creationId xmlns:a16="http://schemas.microsoft.com/office/drawing/2014/main" id="{9F6EE014-C261-D65B-6174-9A51C8120DA1}"/>
                </a:ext>
              </a:extLst>
            </p:cNvPr>
            <p:cNvSpPr>
              <a:spLocks/>
            </p:cNvSpPr>
            <p:nvPr/>
          </p:nvSpPr>
          <p:spPr>
            <a:xfrm flipH="1">
              <a:off x="424164" y="2199208"/>
              <a:ext cx="3125507" cy="39720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Aft>
                  <a:spcPts val="600"/>
                </a:spcAft>
                <a:defRPr/>
              </a:pPr>
              <a:r>
                <a:rPr lang="en-US" altLang="zh-CN" sz="1400" dirty="0">
                  <a:solidFill>
                    <a:srgbClr val="575757"/>
                  </a:solidFill>
                </a:rPr>
                <a:t>{subtitle_6_content}</a:t>
              </a:r>
            </a:p>
          </p:txBody>
        </p:sp>
      </p:grpSp>
      <p:grpSp>
        <p:nvGrpSpPr>
          <p:cNvPr id="21" name="Gruppieren 155">
            <a:extLst>
              <a:ext uri="{FF2B5EF4-FFF2-40B4-BE49-F238E27FC236}">
                <a16:creationId xmlns:a16="http://schemas.microsoft.com/office/drawing/2014/main" id="{AA274B53-32F9-657E-04BA-E18C616D6850}"/>
              </a:ext>
            </a:extLst>
          </p:cNvPr>
          <p:cNvGrpSpPr>
            <a:grpSpLocks/>
          </p:cNvGrpSpPr>
          <p:nvPr/>
        </p:nvGrpSpPr>
        <p:grpSpPr>
          <a:xfrm>
            <a:off x="407989" y="3048039"/>
            <a:ext cx="4942050" cy="1075198"/>
            <a:chOff x="424164" y="1521211"/>
            <a:chExt cx="4926235" cy="1075198"/>
          </a:xfrm>
        </p:grpSpPr>
        <p:cxnSp>
          <p:nvCxnSpPr>
            <p:cNvPr id="22" name="Gerade Verbindung 22">
              <a:extLst>
                <a:ext uri="{FF2B5EF4-FFF2-40B4-BE49-F238E27FC236}">
                  <a16:creationId xmlns:a16="http://schemas.microsoft.com/office/drawing/2014/main" id="{041FA095-1D35-882F-0234-8289614C073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2199208"/>
              <a:ext cx="4924949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platzhalter 13">
              <a:extLst>
                <a:ext uri="{FF2B5EF4-FFF2-40B4-BE49-F238E27FC236}">
                  <a16:creationId xmlns:a16="http://schemas.microsoft.com/office/drawing/2014/main" id="{0B275050-67AB-D908-CACA-CD45AB1789A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4" y="1521211"/>
              <a:ext cx="3125507" cy="677997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r>
                <a:rPr lang="en-US" altLang="zh-CN" sz="1800" cap="none" dirty="0">
                  <a:solidFill>
                    <a:srgbClr val="1A7449"/>
                  </a:solidFill>
                </a:rPr>
                <a:t>{subtitle_5}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endParaRPr>
            </a:p>
          </p:txBody>
        </p:sp>
        <p:sp>
          <p:nvSpPr>
            <p:cNvPr id="24" name="Rechteck 158">
              <a:extLst>
                <a:ext uri="{FF2B5EF4-FFF2-40B4-BE49-F238E27FC236}">
                  <a16:creationId xmlns:a16="http://schemas.microsoft.com/office/drawing/2014/main" id="{444503A4-ADA5-5C2E-C8D9-6C04DC987444}"/>
                </a:ext>
              </a:extLst>
            </p:cNvPr>
            <p:cNvSpPr>
              <a:spLocks/>
            </p:cNvSpPr>
            <p:nvPr/>
          </p:nvSpPr>
          <p:spPr>
            <a:xfrm flipH="1">
              <a:off x="424164" y="2199208"/>
              <a:ext cx="3125507" cy="39720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lang="en-US" altLang="zh-CN" sz="1400" dirty="0">
                  <a:solidFill>
                    <a:srgbClr val="575757"/>
                  </a:solidFill>
                </a:rPr>
                <a:t>{subtitle_5_content}</a:t>
              </a:r>
            </a:p>
          </p:txBody>
        </p:sp>
      </p:grpSp>
      <p:grpSp>
        <p:nvGrpSpPr>
          <p:cNvPr id="25" name="Gruppieren 159">
            <a:extLst>
              <a:ext uri="{FF2B5EF4-FFF2-40B4-BE49-F238E27FC236}">
                <a16:creationId xmlns:a16="http://schemas.microsoft.com/office/drawing/2014/main" id="{B2693770-0924-9BED-C699-744AA4BB79C8}"/>
              </a:ext>
            </a:extLst>
          </p:cNvPr>
          <p:cNvGrpSpPr>
            <a:grpSpLocks/>
          </p:cNvGrpSpPr>
          <p:nvPr/>
        </p:nvGrpSpPr>
        <p:grpSpPr>
          <a:xfrm>
            <a:off x="407989" y="4840933"/>
            <a:ext cx="4942050" cy="746903"/>
            <a:chOff x="424164" y="1849506"/>
            <a:chExt cx="4926235" cy="746903"/>
          </a:xfrm>
        </p:grpSpPr>
        <p:cxnSp>
          <p:nvCxnSpPr>
            <p:cNvPr id="26" name="Gerade Verbindung 22">
              <a:extLst>
                <a:ext uri="{FF2B5EF4-FFF2-40B4-BE49-F238E27FC236}">
                  <a16:creationId xmlns:a16="http://schemas.microsoft.com/office/drawing/2014/main" id="{FFBFD252-1314-13C6-7A07-274BCAEB063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2199208"/>
              <a:ext cx="4924949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platzhalter 13">
              <a:extLst>
                <a:ext uri="{FF2B5EF4-FFF2-40B4-BE49-F238E27FC236}">
                  <a16:creationId xmlns:a16="http://schemas.microsoft.com/office/drawing/2014/main" id="{FF8413FB-A443-EE24-80E2-62F0D0C445C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4" y="1849506"/>
              <a:ext cx="3125507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pPr lvl="0">
                <a:defRPr/>
              </a:pPr>
              <a:r>
                <a:rPr lang="en-US" altLang="zh-CN" sz="1800" cap="none" dirty="0">
                  <a:solidFill>
                    <a:srgbClr val="1A7449"/>
                  </a:solidFill>
                </a:rPr>
                <a:t>{subtitle_4}</a:t>
              </a:r>
            </a:p>
          </p:txBody>
        </p:sp>
        <p:sp>
          <p:nvSpPr>
            <p:cNvPr id="28" name="Rechteck 162">
              <a:extLst>
                <a:ext uri="{FF2B5EF4-FFF2-40B4-BE49-F238E27FC236}">
                  <a16:creationId xmlns:a16="http://schemas.microsoft.com/office/drawing/2014/main" id="{D1075FE5-9E49-EE07-C35E-69D5B5C74643}"/>
                </a:ext>
              </a:extLst>
            </p:cNvPr>
            <p:cNvSpPr>
              <a:spLocks/>
            </p:cNvSpPr>
            <p:nvPr/>
          </p:nvSpPr>
          <p:spPr>
            <a:xfrm flipH="1">
              <a:off x="424164" y="2199208"/>
              <a:ext cx="3125507" cy="39720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lvl="0">
                <a:spcAft>
                  <a:spcPts val="600"/>
                </a:spcAft>
                <a:defRPr/>
              </a:pPr>
              <a:r>
                <a:rPr lang="en-US" altLang="zh-CN" sz="1400" dirty="0">
                  <a:solidFill>
                    <a:srgbClr val="575757"/>
                  </a:solidFill>
                </a:rPr>
                <a:t>{subtitle_4_content}</a:t>
              </a:r>
            </a:p>
          </p:txBody>
        </p:sp>
      </p:grpSp>
      <p:sp>
        <p:nvSpPr>
          <p:cNvPr id="29" name="Freihandform: Form 142">
            <a:extLst>
              <a:ext uri="{FF2B5EF4-FFF2-40B4-BE49-F238E27FC236}">
                <a16:creationId xmlns:a16="http://schemas.microsoft.com/office/drawing/2014/main" id="{3187D027-8521-0253-4657-DD46879B6856}"/>
              </a:ext>
            </a:extLst>
          </p:cNvPr>
          <p:cNvSpPr>
            <a:spLocks/>
          </p:cNvSpPr>
          <p:nvPr/>
        </p:nvSpPr>
        <p:spPr>
          <a:xfrm>
            <a:off x="6098108" y="4190671"/>
            <a:ext cx="1531396" cy="1762649"/>
          </a:xfrm>
          <a:custGeom>
            <a:avLst/>
            <a:gdLst>
              <a:gd name="connsiteX0" fmla="*/ 698863 w 698862"/>
              <a:gd name="connsiteY0" fmla="*/ 605199 h 806978"/>
              <a:gd name="connsiteX1" fmla="*/ 698863 w 698862"/>
              <a:gd name="connsiteY1" fmla="*/ 201710 h 806978"/>
              <a:gd name="connsiteX2" fmla="*/ 349431 w 698862"/>
              <a:gd name="connsiteY2" fmla="*/ 0 h 806978"/>
              <a:gd name="connsiteX3" fmla="*/ 0 w 698862"/>
              <a:gd name="connsiteY3" fmla="*/ 201710 h 806978"/>
              <a:gd name="connsiteX4" fmla="*/ 0 w 698862"/>
              <a:gd name="connsiteY4" fmla="*/ 605199 h 806978"/>
              <a:gd name="connsiteX5" fmla="*/ 349431 w 698862"/>
              <a:gd name="connsiteY5" fmla="*/ 806979 h 806978"/>
              <a:gd name="connsiteX6" fmla="*/ 698863 w 698862"/>
              <a:gd name="connsiteY6" fmla="*/ 60519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862" h="806978">
                <a:moveTo>
                  <a:pt x="698863" y="605199"/>
                </a:moveTo>
                <a:lnTo>
                  <a:pt x="698863" y="201710"/>
                </a:lnTo>
                <a:lnTo>
                  <a:pt x="349431" y="0"/>
                </a:lnTo>
                <a:lnTo>
                  <a:pt x="0" y="201710"/>
                </a:lnTo>
                <a:lnTo>
                  <a:pt x="0" y="605199"/>
                </a:lnTo>
                <a:lnTo>
                  <a:pt x="349431" y="806979"/>
                </a:lnTo>
                <a:lnTo>
                  <a:pt x="698863" y="60519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</a:t>
            </a:r>
          </a:p>
        </p:txBody>
      </p:sp>
      <p:sp>
        <p:nvSpPr>
          <p:cNvPr id="30" name="Freihandform: Form 143">
            <a:extLst>
              <a:ext uri="{FF2B5EF4-FFF2-40B4-BE49-F238E27FC236}">
                <a16:creationId xmlns:a16="http://schemas.microsoft.com/office/drawing/2014/main" id="{6E6201C1-BD34-044E-89C3-31DA31EAFFD4}"/>
              </a:ext>
            </a:extLst>
          </p:cNvPr>
          <p:cNvSpPr>
            <a:spLocks/>
          </p:cNvSpPr>
          <p:nvPr/>
        </p:nvSpPr>
        <p:spPr>
          <a:xfrm>
            <a:off x="4566558" y="4190671"/>
            <a:ext cx="1531550" cy="1762649"/>
          </a:xfrm>
          <a:custGeom>
            <a:avLst/>
            <a:gdLst>
              <a:gd name="connsiteX0" fmla="*/ 698933 w 698932"/>
              <a:gd name="connsiteY0" fmla="*/ 605199 h 806978"/>
              <a:gd name="connsiteX1" fmla="*/ 698933 w 698932"/>
              <a:gd name="connsiteY1" fmla="*/ 201710 h 806978"/>
              <a:gd name="connsiteX2" fmla="*/ 349501 w 698932"/>
              <a:gd name="connsiteY2" fmla="*/ 0 h 806978"/>
              <a:gd name="connsiteX3" fmla="*/ 0 w 698932"/>
              <a:gd name="connsiteY3" fmla="*/ 201710 h 806978"/>
              <a:gd name="connsiteX4" fmla="*/ 0 w 698932"/>
              <a:gd name="connsiteY4" fmla="*/ 605199 h 806978"/>
              <a:gd name="connsiteX5" fmla="*/ 349501 w 698932"/>
              <a:gd name="connsiteY5" fmla="*/ 806979 h 806978"/>
              <a:gd name="connsiteX6" fmla="*/ 698933 w 698932"/>
              <a:gd name="connsiteY6" fmla="*/ 60519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932" h="806978">
                <a:moveTo>
                  <a:pt x="698933" y="605199"/>
                </a:moveTo>
                <a:lnTo>
                  <a:pt x="698933" y="201710"/>
                </a:lnTo>
                <a:lnTo>
                  <a:pt x="349501" y="0"/>
                </a:lnTo>
                <a:lnTo>
                  <a:pt x="0" y="201710"/>
                </a:lnTo>
                <a:lnTo>
                  <a:pt x="0" y="605199"/>
                </a:lnTo>
                <a:lnTo>
                  <a:pt x="349501" y="806979"/>
                </a:lnTo>
                <a:lnTo>
                  <a:pt x="698933" y="60519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4</a:t>
            </a:r>
          </a:p>
        </p:txBody>
      </p:sp>
      <p:sp>
        <p:nvSpPr>
          <p:cNvPr id="31" name="Freihandform: Form 144">
            <a:extLst>
              <a:ext uri="{FF2B5EF4-FFF2-40B4-BE49-F238E27FC236}">
                <a16:creationId xmlns:a16="http://schemas.microsoft.com/office/drawing/2014/main" id="{61EC8371-E30E-20DD-B455-687D3B4D9E3D}"/>
              </a:ext>
            </a:extLst>
          </p:cNvPr>
          <p:cNvSpPr>
            <a:spLocks/>
          </p:cNvSpPr>
          <p:nvPr/>
        </p:nvSpPr>
        <p:spPr>
          <a:xfrm>
            <a:off x="6863810" y="2874082"/>
            <a:ext cx="1531396" cy="1762649"/>
          </a:xfrm>
          <a:custGeom>
            <a:avLst/>
            <a:gdLst>
              <a:gd name="connsiteX0" fmla="*/ 698863 w 698862"/>
              <a:gd name="connsiteY0" fmla="*/ 605269 h 806978"/>
              <a:gd name="connsiteX1" fmla="*/ 698863 w 698862"/>
              <a:gd name="connsiteY1" fmla="*/ 201780 h 806978"/>
              <a:gd name="connsiteX2" fmla="*/ 349432 w 698862"/>
              <a:gd name="connsiteY2" fmla="*/ 0 h 806978"/>
              <a:gd name="connsiteX3" fmla="*/ 0 w 698862"/>
              <a:gd name="connsiteY3" fmla="*/ 201780 h 806978"/>
              <a:gd name="connsiteX4" fmla="*/ 0 w 698862"/>
              <a:gd name="connsiteY4" fmla="*/ 605269 h 806978"/>
              <a:gd name="connsiteX5" fmla="*/ 349432 w 698862"/>
              <a:gd name="connsiteY5" fmla="*/ 806979 h 806978"/>
              <a:gd name="connsiteX6" fmla="*/ 698863 w 698862"/>
              <a:gd name="connsiteY6" fmla="*/ 60526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862" h="806978">
                <a:moveTo>
                  <a:pt x="698863" y="605269"/>
                </a:moveTo>
                <a:lnTo>
                  <a:pt x="698863" y="201780"/>
                </a:lnTo>
                <a:lnTo>
                  <a:pt x="349432" y="0"/>
                </a:lnTo>
                <a:lnTo>
                  <a:pt x="0" y="201780"/>
                </a:lnTo>
                <a:lnTo>
                  <a:pt x="0" y="605269"/>
                </a:lnTo>
                <a:lnTo>
                  <a:pt x="349432" y="806979"/>
                </a:lnTo>
                <a:lnTo>
                  <a:pt x="698863" y="60526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</a:t>
            </a:r>
          </a:p>
        </p:txBody>
      </p:sp>
      <p:sp>
        <p:nvSpPr>
          <p:cNvPr id="32" name="Freihandform: Form 146">
            <a:extLst>
              <a:ext uri="{FF2B5EF4-FFF2-40B4-BE49-F238E27FC236}">
                <a16:creationId xmlns:a16="http://schemas.microsoft.com/office/drawing/2014/main" id="{B4869B08-EE8A-9454-E4A5-F120BEB9019E}"/>
              </a:ext>
            </a:extLst>
          </p:cNvPr>
          <p:cNvSpPr>
            <a:spLocks/>
          </p:cNvSpPr>
          <p:nvPr/>
        </p:nvSpPr>
        <p:spPr>
          <a:xfrm>
            <a:off x="3800860" y="2874082"/>
            <a:ext cx="1531550" cy="1762649"/>
          </a:xfrm>
          <a:custGeom>
            <a:avLst/>
            <a:gdLst>
              <a:gd name="connsiteX0" fmla="*/ 698932 w 698932"/>
              <a:gd name="connsiteY0" fmla="*/ 605269 h 806978"/>
              <a:gd name="connsiteX1" fmla="*/ 698932 w 698932"/>
              <a:gd name="connsiteY1" fmla="*/ 201780 h 806978"/>
              <a:gd name="connsiteX2" fmla="*/ 349431 w 698932"/>
              <a:gd name="connsiteY2" fmla="*/ 0 h 806978"/>
              <a:gd name="connsiteX3" fmla="*/ 0 w 698932"/>
              <a:gd name="connsiteY3" fmla="*/ 201780 h 806978"/>
              <a:gd name="connsiteX4" fmla="*/ 0 w 698932"/>
              <a:gd name="connsiteY4" fmla="*/ 605269 h 806978"/>
              <a:gd name="connsiteX5" fmla="*/ 349431 w 698932"/>
              <a:gd name="connsiteY5" fmla="*/ 806979 h 806978"/>
              <a:gd name="connsiteX6" fmla="*/ 698932 w 698932"/>
              <a:gd name="connsiteY6" fmla="*/ 60526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932" h="806978">
                <a:moveTo>
                  <a:pt x="698932" y="605269"/>
                </a:moveTo>
                <a:lnTo>
                  <a:pt x="698932" y="201780"/>
                </a:lnTo>
                <a:lnTo>
                  <a:pt x="349431" y="0"/>
                </a:lnTo>
                <a:lnTo>
                  <a:pt x="0" y="201780"/>
                </a:lnTo>
                <a:lnTo>
                  <a:pt x="0" y="605269"/>
                </a:lnTo>
                <a:lnTo>
                  <a:pt x="349431" y="806979"/>
                </a:lnTo>
                <a:lnTo>
                  <a:pt x="698932" y="60526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5</a:t>
            </a:r>
          </a:p>
        </p:txBody>
      </p:sp>
      <p:sp>
        <p:nvSpPr>
          <p:cNvPr id="33" name="Freihandform: Form 147">
            <a:extLst>
              <a:ext uri="{FF2B5EF4-FFF2-40B4-BE49-F238E27FC236}">
                <a16:creationId xmlns:a16="http://schemas.microsoft.com/office/drawing/2014/main" id="{A8AB32E4-88C7-5DD3-F157-995691028F15}"/>
              </a:ext>
            </a:extLst>
          </p:cNvPr>
          <p:cNvSpPr>
            <a:spLocks/>
          </p:cNvSpPr>
          <p:nvPr/>
        </p:nvSpPr>
        <p:spPr>
          <a:xfrm>
            <a:off x="6098108" y="1557338"/>
            <a:ext cx="1531396" cy="1762802"/>
          </a:xfrm>
          <a:custGeom>
            <a:avLst/>
            <a:gdLst>
              <a:gd name="connsiteX0" fmla="*/ 698863 w 698862"/>
              <a:gd name="connsiteY0" fmla="*/ 605269 h 807048"/>
              <a:gd name="connsiteX1" fmla="*/ 698863 w 698862"/>
              <a:gd name="connsiteY1" fmla="*/ 201779 h 807048"/>
              <a:gd name="connsiteX2" fmla="*/ 349431 w 698862"/>
              <a:gd name="connsiteY2" fmla="*/ 0 h 807048"/>
              <a:gd name="connsiteX3" fmla="*/ 0 w 698862"/>
              <a:gd name="connsiteY3" fmla="*/ 201779 h 807048"/>
              <a:gd name="connsiteX4" fmla="*/ 0 w 698862"/>
              <a:gd name="connsiteY4" fmla="*/ 605269 h 807048"/>
              <a:gd name="connsiteX5" fmla="*/ 349431 w 698862"/>
              <a:gd name="connsiteY5" fmla="*/ 807048 h 807048"/>
              <a:gd name="connsiteX6" fmla="*/ 698863 w 698862"/>
              <a:gd name="connsiteY6" fmla="*/ 605269 h 807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862" h="807048">
                <a:moveTo>
                  <a:pt x="698863" y="605269"/>
                </a:moveTo>
                <a:lnTo>
                  <a:pt x="698863" y="201779"/>
                </a:lnTo>
                <a:lnTo>
                  <a:pt x="349431" y="0"/>
                </a:lnTo>
                <a:lnTo>
                  <a:pt x="0" y="201779"/>
                </a:lnTo>
                <a:lnTo>
                  <a:pt x="0" y="605269"/>
                </a:lnTo>
                <a:lnTo>
                  <a:pt x="349431" y="807048"/>
                </a:lnTo>
                <a:lnTo>
                  <a:pt x="698863" y="60526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</a:t>
            </a:r>
          </a:p>
        </p:txBody>
      </p:sp>
      <p:sp>
        <p:nvSpPr>
          <p:cNvPr id="34" name="Freihandform: Form 148">
            <a:extLst>
              <a:ext uri="{FF2B5EF4-FFF2-40B4-BE49-F238E27FC236}">
                <a16:creationId xmlns:a16="http://schemas.microsoft.com/office/drawing/2014/main" id="{71967A9D-39ED-D6B9-7623-C55E91660487}"/>
              </a:ext>
            </a:extLst>
          </p:cNvPr>
          <p:cNvSpPr>
            <a:spLocks/>
          </p:cNvSpPr>
          <p:nvPr/>
        </p:nvSpPr>
        <p:spPr>
          <a:xfrm>
            <a:off x="4566558" y="1557338"/>
            <a:ext cx="1531550" cy="1762802"/>
          </a:xfrm>
          <a:custGeom>
            <a:avLst/>
            <a:gdLst>
              <a:gd name="connsiteX0" fmla="*/ 698933 w 698932"/>
              <a:gd name="connsiteY0" fmla="*/ 605269 h 807048"/>
              <a:gd name="connsiteX1" fmla="*/ 698933 w 698932"/>
              <a:gd name="connsiteY1" fmla="*/ 201779 h 807048"/>
              <a:gd name="connsiteX2" fmla="*/ 349501 w 698932"/>
              <a:gd name="connsiteY2" fmla="*/ 0 h 807048"/>
              <a:gd name="connsiteX3" fmla="*/ 0 w 698932"/>
              <a:gd name="connsiteY3" fmla="*/ 201779 h 807048"/>
              <a:gd name="connsiteX4" fmla="*/ 0 w 698932"/>
              <a:gd name="connsiteY4" fmla="*/ 605269 h 807048"/>
              <a:gd name="connsiteX5" fmla="*/ 349501 w 698932"/>
              <a:gd name="connsiteY5" fmla="*/ 807048 h 807048"/>
              <a:gd name="connsiteX6" fmla="*/ 698933 w 698932"/>
              <a:gd name="connsiteY6" fmla="*/ 605269 h 807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932" h="807048">
                <a:moveTo>
                  <a:pt x="698933" y="605269"/>
                </a:moveTo>
                <a:lnTo>
                  <a:pt x="698933" y="201779"/>
                </a:lnTo>
                <a:lnTo>
                  <a:pt x="349501" y="0"/>
                </a:lnTo>
                <a:lnTo>
                  <a:pt x="0" y="201779"/>
                </a:lnTo>
                <a:lnTo>
                  <a:pt x="0" y="605269"/>
                </a:lnTo>
                <a:lnTo>
                  <a:pt x="349501" y="807048"/>
                </a:lnTo>
                <a:lnTo>
                  <a:pt x="698933" y="60526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6</a:t>
            </a:r>
          </a:p>
        </p:txBody>
      </p:sp>
      <p:sp>
        <p:nvSpPr>
          <p:cNvPr id="35" name="Freihandform: Form 145">
            <a:extLst>
              <a:ext uri="{FF2B5EF4-FFF2-40B4-BE49-F238E27FC236}">
                <a16:creationId xmlns:a16="http://schemas.microsoft.com/office/drawing/2014/main" id="{0B09A834-F468-923D-C2EC-7B383BCD7DA4}"/>
              </a:ext>
            </a:extLst>
          </p:cNvPr>
          <p:cNvSpPr>
            <a:spLocks noChangeAspect="1"/>
          </p:cNvSpPr>
          <p:nvPr/>
        </p:nvSpPr>
        <p:spPr>
          <a:xfrm>
            <a:off x="5362871" y="2909143"/>
            <a:ext cx="1470476" cy="1692529"/>
          </a:xfrm>
          <a:custGeom>
            <a:avLst/>
            <a:gdLst>
              <a:gd name="connsiteX0" fmla="*/ 698863 w 698862"/>
              <a:gd name="connsiteY0" fmla="*/ 605269 h 806978"/>
              <a:gd name="connsiteX1" fmla="*/ 698863 w 698862"/>
              <a:gd name="connsiteY1" fmla="*/ 201780 h 806978"/>
              <a:gd name="connsiteX2" fmla="*/ 349432 w 698862"/>
              <a:gd name="connsiteY2" fmla="*/ 0 h 806978"/>
              <a:gd name="connsiteX3" fmla="*/ 0 w 698862"/>
              <a:gd name="connsiteY3" fmla="*/ 201780 h 806978"/>
              <a:gd name="connsiteX4" fmla="*/ 0 w 698862"/>
              <a:gd name="connsiteY4" fmla="*/ 605269 h 806978"/>
              <a:gd name="connsiteX5" fmla="*/ 349432 w 698862"/>
              <a:gd name="connsiteY5" fmla="*/ 806979 h 806978"/>
              <a:gd name="connsiteX6" fmla="*/ 698863 w 698862"/>
              <a:gd name="connsiteY6" fmla="*/ 60526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862" h="806978">
                <a:moveTo>
                  <a:pt x="698863" y="605269"/>
                </a:moveTo>
                <a:lnTo>
                  <a:pt x="698863" y="201780"/>
                </a:lnTo>
                <a:lnTo>
                  <a:pt x="349432" y="0"/>
                </a:lnTo>
                <a:lnTo>
                  <a:pt x="0" y="201780"/>
                </a:lnTo>
                <a:lnTo>
                  <a:pt x="0" y="605269"/>
                </a:lnTo>
                <a:lnTo>
                  <a:pt x="349432" y="806979"/>
                </a:lnTo>
                <a:lnTo>
                  <a:pt x="698863" y="605269"/>
                </a:lnTo>
                <a:close/>
              </a:path>
            </a:pathLst>
          </a:custGeom>
          <a:noFill/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87E9848F-455F-9658-9DBF-F8A5C14C00C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463774" y="3413006"/>
            <a:ext cx="1268668" cy="68480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Insert desired text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1970F4E0-8A87-529B-B4A0-86892ED972F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5453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honeycombs</a:t>
            </a:r>
          </a:p>
        </p:txBody>
      </p:sp>
    </p:spTree>
    <p:extLst>
      <p:ext uri="{BB962C8B-B14F-4D97-AF65-F5344CB8AC3E}">
        <p14:creationId xmlns:p14="http://schemas.microsoft.com/office/powerpoint/2010/main" val="2060942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89</Words>
  <Application>Microsoft Office PowerPoint</Application>
  <PresentationFormat>宽屏</PresentationFormat>
  <Paragraphs>2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5T06:38:30Z</dcterms:created>
  <dcterms:modified xsi:type="dcterms:W3CDTF">2025-09-05T06:40:36Z</dcterms:modified>
</cp:coreProperties>
</file>